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57" r:id="rId4"/>
    <p:sldId id="285" r:id="rId5"/>
    <p:sldId id="282" r:id="rId6"/>
    <p:sldId id="283" r:id="rId7"/>
    <p:sldId id="306" r:id="rId8"/>
    <p:sldId id="309" r:id="rId9"/>
    <p:sldId id="31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3775" autoAdjust="0"/>
  </p:normalViewPr>
  <p:slideViewPr>
    <p:cSldViewPr snapToGrid="0">
      <p:cViewPr varScale="1">
        <p:scale>
          <a:sx n="88" d="100"/>
          <a:sy n="88" d="100"/>
        </p:scale>
        <p:origin x="72" y="4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右图图一展示的是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-2019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这四年间，黑龙江和吉林两地每月的销量走势，不同的颜色代表不同的年份。总体上有比较明显的波动规律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右图图二展示的是，各档次啤酒，每月在黑龙江和吉林两地的销量走势。不同颜色代表不同档次的啤酒。从图中我们可以看出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-end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这个档次的啤酒销量最高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8119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这张图展示的是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-2019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这四年间，黑龙江和吉林两地，各品牌的包装情况。横坐标是品牌，纵坐标是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KU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个数，不同的颜色代表不同的包装规格。从图中我们可以看出，大部分品牌的包装以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bottle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为主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2606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特征工程部分，构建了一系列基础特征、时序特征、业务特征和组合特征等</a:t>
            </a:r>
            <a:r>
              <a:rPr lang="en-US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我们采用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permutation based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特征选择处理噪声，该方法在中低维度数据中有较好表现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后续将根据验证结果，决定是否使用主题模型及主成分分析等特征提取方法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部分还采用</a:t>
            </a:r>
            <a:r>
              <a:rPr lang="en-US" altLang="zh-CN" sz="1800" kern="100" dirty="0" err="1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Keras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现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把商品、日期做了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该方法借鉴了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ord2vec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让相近的产品的稀疏特征，通过</a:t>
            </a:r>
            <a:r>
              <a:rPr lang="en-US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mbedding</a:t>
            </a: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转换到稠密的向量空间中。处理后相近的商品及经销商，在向量空间中距离比较近。 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6618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en-US" altLang="zh-CN" sz="1800" kern="100" dirty="0">
                <a:solidFill>
                  <a:srgbClr val="1A1A1A"/>
                </a:solidFill>
                <a:effectLst/>
                <a:latin typeface="微软雅黑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 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对于我们的核心模型部分， 初步</a:t>
            </a: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预计四个模型，</a:t>
            </a:r>
            <a:r>
              <a:rPr lang="en-US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</a:t>
            </a:r>
            <a:r>
              <a:rPr lang="zh-CN" altLang="zh-CN" sz="1800" kern="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折交叉验证， 分别进行参数扰动、特征扰动，调参和特征选择，保证单模型最优，四个模型根据线上得分，进行不同比例的加权融合，生成最终模型结果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zh-CN" altLang="zh-CN" sz="1800" kern="100" dirty="0"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组模型的创新点主要体现在模型融合上，考察指标为平均绝对误差，侧重于背后的商业原理。在进行加权融合时，由于对每个模型的结果进行了归一化，以及通过模型反馈不断进行数据清洗和特征构造，预计融合效果较好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1862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800" kern="100" dirty="0">
                <a:solidFill>
                  <a:srgbClr val="1A1A1A"/>
                </a:solidFill>
                <a:effectLst/>
                <a:latin typeface="等线" panose="02010600030101010101" pitchFamily="2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上就是我们小组汇报的全部内容，谢谢各位评委老师。</a:t>
            </a:r>
            <a:endParaRPr lang="zh-CN" altLang="zh-CN" sz="18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831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475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microsoft.com/office/2007/relationships/media" Target="../media/media5.mp4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4.png"/><Relationship Id="rId5" Type="http://schemas.openxmlformats.org/officeDocument/2006/relationships/slideLayout" Target="../slideLayouts/slideLayout6.xml"/><Relationship Id="rId10" Type="http://schemas.microsoft.com/office/2007/relationships/hdphoto" Target="../media/hdphoto1.wdp"/><Relationship Id="rId4" Type="http://schemas.openxmlformats.org/officeDocument/2006/relationships/video" Target="../media/media5.mp4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4.png"/><Relationship Id="rId5" Type="http://schemas.openxmlformats.org/officeDocument/2006/relationships/image" Target="../media/image5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microsoft.com/office/2007/relationships/hdphoto" Target="../media/hdphoto2.wdp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0.png"/><Relationship Id="rId12" Type="http://schemas.openxmlformats.org/officeDocument/2006/relationships/image" Target="../media/image23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90.png"/><Relationship Id="rId11" Type="http://schemas.microsoft.com/office/2007/relationships/hdphoto" Target="../media/hdphoto2.wdp"/><Relationship Id="rId5" Type="http://schemas.openxmlformats.org/officeDocument/2006/relationships/image" Target="../media/image8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  <p:pic>
        <p:nvPicPr>
          <p:cNvPr id="10" name="视频 9">
            <a:hlinkClick r:id="" action="ppaction://media"/>
            <a:extLst>
              <a:ext uri="{FF2B5EF4-FFF2-40B4-BE49-F238E27FC236}">
                <a16:creationId xmlns:a16="http://schemas.microsoft.com/office/drawing/2014/main" id="{F33B0693-CF3F-4C0B-9EEE-2AF18848C60B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531"/>
    </mc:Choice>
    <mc:Fallback>
      <p:transition spd="slow" advTm="55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团队介绍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介绍与分工</a:t>
            </a: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276" y="56761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穿着西装的男孩&#10;&#10;描述已自动生成">
            <a:extLst>
              <a:ext uri="{FF2B5EF4-FFF2-40B4-BE49-F238E27FC236}">
                <a16:creationId xmlns:a16="http://schemas.microsoft.com/office/drawing/2014/main" id="{75221AF8-1CF6-DC48-889A-F4B90FB543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" b="15230"/>
          <a:stretch/>
        </p:blipFill>
        <p:spPr>
          <a:xfrm>
            <a:off x="1615558" y="3120453"/>
            <a:ext cx="1117843" cy="13342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541886-90F2-DB4E-AEE2-48EE07A77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4684209"/>
            <a:ext cx="994775" cy="1279712"/>
          </a:xfrm>
          <a:prstGeom prst="rect">
            <a:avLst/>
          </a:prstGeom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454075C-E4FD-2149-B174-A4C0850DE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50743"/>
              </p:ext>
            </p:extLst>
          </p:nvPr>
        </p:nvGraphicFramePr>
        <p:xfrm>
          <a:off x="2939070" y="2913011"/>
          <a:ext cx="7370434" cy="1548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朱明远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Jilin University- BSc Biology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大学生数据建模大赛三等奖，中科院昆明动物所，中科院广州生物医药研究所，中科院上海生物化学研究所，宁波诺丁汉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art-time RA,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NC  Data Assistant and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mploy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dure</a:t>
                      </a:r>
                      <a:r>
                        <a:rPr lang="zh-CN" altLang="fr-FR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，</a:t>
                      </a: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薪郅互联网科技（上海）有限公司   实习薪酬数据分析员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模型框架搭建；外部数据的更新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2481A57E-52E1-D342-984F-B5D7932E2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527854"/>
              </p:ext>
            </p:extLst>
          </p:nvPr>
        </p:nvGraphicFramePr>
        <p:xfrm>
          <a:off x="2939070" y="1330372"/>
          <a:ext cx="7370434" cy="14319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赵宇（队长）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p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Holding AG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分析师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完善公司用户画像与产品画像，优化消费者洞察与产品分析，辅助精准营销。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京东 数据分析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梳理京东商城网站内茶饮料品类中，不同阶段用户的认知差距，定义站内茶品用户成长路径，探寻用户精细化分层运营及站内引流营销机会点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35073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清洗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&amp;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合并，探索性分析，根据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del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反馈进一步优化模型；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4C840BD6-C321-7647-8E5D-DED7553DA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4551"/>
              </p:ext>
            </p:extLst>
          </p:nvPr>
        </p:nvGraphicFramePr>
        <p:xfrm>
          <a:off x="2939070" y="4554869"/>
          <a:ext cx="7370434" cy="18529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白诗琪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omputer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c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o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ased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n computer vision / 2018.09 – 2019. 05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computer vision,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trac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ultimodal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features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f the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reat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an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system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hanghai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ing’a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oYiShe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好医生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mart Q&amp;A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latform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/ 2019.07 – 2019.12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atural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languag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s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odel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mple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agnosis</a:t>
                      </a:r>
                      <a:endParaRPr lang="fr-FR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主要模型的调试以及参数更新，销售商用户画像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ACF6903-0F1B-4442-B680-CEC67AEC95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1291992"/>
            <a:ext cx="1039914" cy="15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07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23256"/>
              </p:ext>
            </p:extLst>
          </p:nvPr>
        </p:nvGraphicFramePr>
        <p:xfrm>
          <a:off x="548474" y="1423375"/>
          <a:ext cx="4480725" cy="226340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3575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491504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027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5139173" y="1972937"/>
            <a:ext cx="1778122" cy="1687351"/>
          </a:xfrm>
          <a:prstGeom prst="bentArrow">
            <a:avLst>
              <a:gd name="adj1" fmla="val 10324"/>
              <a:gd name="adj2" fmla="val 13714"/>
              <a:gd name="adj3" fmla="val 19975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856250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9884" y="2690580"/>
            <a:ext cx="3663287" cy="24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71BC8F1-75E4-44E9-A4DB-E4E7888BC7ED}"/>
              </a:ext>
            </a:extLst>
          </p:cNvPr>
          <p:cNvSpPr txBox="1"/>
          <p:nvPr/>
        </p:nvSpPr>
        <p:spPr>
          <a:xfrm>
            <a:off x="482600" y="1904998"/>
            <a:ext cx="3581400" cy="2142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区域每年各月总销量走势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右图图一可知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黑龙江的销量比较稳定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的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大幅下滑，然后逐步上升至八月，接着又下滑。总体上有明显的波动规律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在这四年间，吉林的销量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5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开始，有明显上升，之后成规律性波动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的销量相对较低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1F69D01-C356-5D4E-9F49-A3B5DEFABE61}"/>
              </a:ext>
            </a:extLst>
          </p:cNvPr>
          <p:cNvSpPr txBox="1"/>
          <p:nvPr/>
        </p:nvSpPr>
        <p:spPr>
          <a:xfrm>
            <a:off x="482600" y="4381499"/>
            <a:ext cx="3581400" cy="191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sz="1000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图二显示的是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年中有一个很大幅度的提升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E9CD42E-2391-694D-AAD2-3411B0D0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27646" y="2728064"/>
            <a:ext cx="4015409" cy="23741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4072540-5311-C64E-820C-D76275E44DD3}"/>
              </a:ext>
            </a:extLst>
          </p:cNvPr>
          <p:cNvSpPr txBox="1"/>
          <p:nvPr/>
        </p:nvSpPr>
        <p:spPr>
          <a:xfrm>
            <a:off x="4844264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一：各区域每年各月总销量走势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4A228A-184C-0144-9461-355788C9B790}"/>
              </a:ext>
            </a:extLst>
          </p:cNvPr>
          <p:cNvSpPr txBox="1"/>
          <p:nvPr/>
        </p:nvSpPr>
        <p:spPr>
          <a:xfrm>
            <a:off x="9200343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二：各档次啤酒的销量</a:t>
            </a:r>
          </a:p>
        </p:txBody>
      </p:sp>
      <p:pic>
        <p:nvPicPr>
          <p:cNvPr id="19" name="视频 18">
            <a:hlinkClick r:id="" action="ppaction://media"/>
            <a:extLst>
              <a:ext uri="{FF2B5EF4-FFF2-40B4-BE49-F238E27FC236}">
                <a16:creationId xmlns:a16="http://schemas.microsoft.com/office/drawing/2014/main" id="{3690AB6D-24FD-484A-913D-6E972C9FFE6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910992" y="34326"/>
            <a:ext cx="2285999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578"/>
    </mc:Choice>
    <mc:Fallback xmlns="">
      <p:transition spd="slow" advTm="2557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240" y="1950720"/>
            <a:ext cx="6691464" cy="4556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1950720"/>
            <a:ext cx="4302760" cy="3978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4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从图中我们可以看出，大部分品牌的包装以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为主。</a:t>
            </a:r>
            <a:endParaRPr lang="en-US" altLang="zh-CN" sz="1400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视频 14">
            <a:hlinkClick r:id="" action="ppaction://media"/>
            <a:extLst>
              <a:ext uri="{FF2B5EF4-FFF2-40B4-BE49-F238E27FC236}">
                <a16:creationId xmlns:a16="http://schemas.microsoft.com/office/drawing/2014/main" id="{2A39179D-88AA-498D-9ABE-2D19C111608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9906001" y="34326"/>
            <a:ext cx="2285999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026"/>
    </mc:Choice>
    <mc:Fallback xmlns="">
      <p:transition spd="slow" advTm="240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481464"/>
            <a:ext cx="6494173" cy="337239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sz="1600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600" dirty="0"/>
              <a:t>Topic </a:t>
            </a:r>
            <a:r>
              <a:rPr lang="en-US" altLang="zh-CN" sz="1600" dirty="0"/>
              <a:t>M</a:t>
            </a:r>
            <a:r>
              <a:rPr lang="zh-CN" altLang="zh-CN" sz="1600" dirty="0"/>
              <a:t>odelling</a:t>
            </a:r>
            <a:r>
              <a:rPr lang="en-US" altLang="zh-CN" sz="1600" dirty="0"/>
              <a:t> or</a:t>
            </a:r>
            <a:r>
              <a:rPr lang="zh-CN" altLang="en-US" sz="1600" dirty="0"/>
              <a:t> </a:t>
            </a:r>
            <a:r>
              <a:rPr lang="en-US" altLang="zh-CN" sz="1600" dirty="0"/>
              <a:t>PCA</a:t>
            </a:r>
            <a:r>
              <a:rPr lang="zh-CN" altLang="en-US" sz="1600" dirty="0"/>
              <a:t>：降维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Embedding</a:t>
            </a: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转换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/>
              <a:t>Like </a:t>
            </a:r>
            <a:r>
              <a:rPr lang="en-GB" altLang="zh-CN" sz="1600" dirty="0"/>
              <a:t>word2vec(</a:t>
            </a:r>
            <a:r>
              <a:rPr lang="en-GB" altLang="zh-CN" sz="1600" dirty="0" err="1"/>
              <a:t>Keras</a:t>
            </a:r>
            <a:r>
              <a:rPr lang="en-GB" altLang="zh-CN" sz="1600" dirty="0"/>
              <a:t>), </a:t>
            </a:r>
            <a:r>
              <a:rPr lang="zh-CN" altLang="en-US" sz="1600" dirty="0"/>
              <a:t>相似的产品以及销售门店</a:t>
            </a:r>
            <a:r>
              <a:rPr lang="en-US" altLang="zh-CN" sz="1600" dirty="0"/>
              <a:t> -&gt;</a:t>
            </a:r>
            <a:r>
              <a:rPr lang="zh-CN" altLang="en-US" sz="1600" dirty="0"/>
              <a:t>稠密的向量空间临近</a:t>
            </a:r>
            <a:endParaRPr lang="en-US" altLang="zh-CN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视频 6">
            <a:hlinkClick r:id="" action="ppaction://media"/>
            <a:extLst>
              <a:ext uri="{FF2B5EF4-FFF2-40B4-BE49-F238E27FC236}">
                <a16:creationId xmlns:a16="http://schemas.microsoft.com/office/drawing/2014/main" id="{F5CC84BE-7665-4CF8-8187-1257B3654B5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8498"/>
    </mc:Choice>
    <mc:Fallback>
      <p:transition spd="slow" advTm="384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sz="1400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视频 21">
            <a:hlinkClick r:id="" action="ppaction://media"/>
            <a:extLst>
              <a:ext uri="{FF2B5EF4-FFF2-40B4-BE49-F238E27FC236}">
                <a16:creationId xmlns:a16="http://schemas.microsoft.com/office/drawing/2014/main" id="{271C123E-B5DB-466A-B424-5D0C7EB98C6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  <p:ext uri="{42D2F446-02D8-4167-A562-619A0277C38B}">
                <p15:isNarration xmlns:p15="http://schemas.microsoft.com/office/powerpoint/2012/main" val="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0477500" y="5143500"/>
            <a:ext cx="17145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6199"/>
    </mc:Choice>
    <mc:Fallback>
      <p:transition spd="slow" advTm="361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51</TotalTime>
  <Words>1348</Words>
  <Application>Microsoft Office PowerPoint</Application>
  <PresentationFormat>宽屏</PresentationFormat>
  <Paragraphs>118</Paragraphs>
  <Slides>10</Slides>
  <Notes>5</Notes>
  <HiddenSlides>0</HiddenSlides>
  <MMClips>5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ngyuan ZHU (20219292)</cp:lastModifiedBy>
  <cp:revision>62</cp:revision>
  <cp:lastPrinted>2019-05-23T16:00:00Z</cp:lastPrinted>
  <dcterms:created xsi:type="dcterms:W3CDTF">2019-05-23T16:00:00Z</dcterms:created>
  <dcterms:modified xsi:type="dcterms:W3CDTF">2020-07-08T05:3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